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8"/>
  </p:notesMasterIdLst>
  <p:handoutMasterIdLst>
    <p:handoutMasterId r:id="rId69"/>
  </p:handoutMasterIdLst>
  <p:sldIdLst>
    <p:sldId id="441" r:id="rId35"/>
    <p:sldId id="418" r:id="rId36"/>
    <p:sldId id="427" r:id="rId37"/>
    <p:sldId id="412" r:id="rId38"/>
    <p:sldId id="399" r:id="rId39"/>
    <p:sldId id="400" r:id="rId40"/>
    <p:sldId id="402" r:id="rId41"/>
    <p:sldId id="401" r:id="rId42"/>
    <p:sldId id="408" r:id="rId43"/>
    <p:sldId id="409" r:id="rId44"/>
    <p:sldId id="425" r:id="rId45"/>
    <p:sldId id="420" r:id="rId46"/>
    <p:sldId id="424" r:id="rId47"/>
    <p:sldId id="410" r:id="rId48"/>
    <p:sldId id="421" r:id="rId49"/>
    <p:sldId id="422" r:id="rId50"/>
    <p:sldId id="443" r:id="rId51"/>
    <p:sldId id="444" r:id="rId52"/>
    <p:sldId id="446" r:id="rId53"/>
    <p:sldId id="445" r:id="rId54"/>
    <p:sldId id="423" r:id="rId55"/>
    <p:sldId id="428" r:id="rId56"/>
    <p:sldId id="442" r:id="rId57"/>
    <p:sldId id="430" r:id="rId58"/>
    <p:sldId id="431" r:id="rId59"/>
    <p:sldId id="432" r:id="rId60"/>
    <p:sldId id="433" r:id="rId61"/>
    <p:sldId id="434" r:id="rId62"/>
    <p:sldId id="435" r:id="rId63"/>
    <p:sldId id="436" r:id="rId64"/>
    <p:sldId id="437" r:id="rId65"/>
    <p:sldId id="438" r:id="rId66"/>
    <p:sldId id="439" r:id="rId6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2"/>
            <p14:sldId id="399"/>
            <p14:sldId id="400"/>
            <p14:sldId id="402"/>
            <p14:sldId id="401"/>
            <p14:sldId id="408"/>
            <p14:sldId id="409"/>
            <p14:sldId id="425"/>
            <p14:sldId id="420"/>
            <p14:sldId id="424"/>
            <p14:sldId id="410"/>
            <p14:sldId id="421"/>
            <p14:sldId id="422"/>
            <p14:sldId id="443"/>
            <p14:sldId id="444"/>
            <p14:sldId id="446"/>
            <p14:sldId id="445"/>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59251" autoAdjust="0"/>
  </p:normalViewPr>
  <p:slideViewPr>
    <p:cSldViewPr snapToGrid="0">
      <p:cViewPr varScale="1">
        <p:scale>
          <a:sx n="58" d="100"/>
          <a:sy n="58" d="100"/>
        </p:scale>
        <p:origin x="1507" y="4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 Id="rId7" Type="http://schemas.openxmlformats.org/officeDocument/2006/relationships/slideMaster" Target="slideMasters/slideMaster7.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81502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Pivot/AzureEssentials/AzureInfrastructure/Watch</a:t>
            </a:r>
          </a:p>
          <a:p>
            <a:endParaRPr lang="en-US" dirty="0"/>
          </a:p>
          <a:p>
            <a:r>
              <a:rPr lang="en-US" dirty="0"/>
              <a:t>Matt </a:t>
            </a:r>
            <a:r>
              <a:rPr lang="en-US" dirty="0" err="1"/>
              <a:t>McSpirit</a:t>
            </a:r>
            <a:endParaRPr lang="en-US" dirty="0"/>
          </a:p>
          <a:p>
            <a:r>
              <a:rPr lang="en-US" dirty="0"/>
              <a:t>Sr Technical Product Manager</a:t>
            </a:r>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746043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21836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804861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801132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8" Type="http://schemas.openxmlformats.org/officeDocument/2006/relationships/slideLayout" Target="../slideLayouts/slideLayout243.xml"/><Relationship Id="rId3" Type="http://schemas.openxmlformats.org/officeDocument/2006/relationships/slideLayout" Target="../slideLayouts/slideLayout2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 Id="rId8" Type="http://schemas.openxmlformats.org/officeDocument/2006/relationships/slideLayout" Target="../slideLayouts/slideLayout31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8" Type="http://schemas.openxmlformats.org/officeDocument/2006/relationships/slideLayout" Target="../slideLayouts/slideLayout364.xml"/><Relationship Id="rId3" Type="http://schemas.openxmlformats.org/officeDocument/2006/relationships/slideLayout" Target="../slideLayouts/slideLayout35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 Id="rId8" Type="http://schemas.openxmlformats.org/officeDocument/2006/relationships/slideLayout" Target="../slideLayouts/slideLayout62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7/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2"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8"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6"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7/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7/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1.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2.xml"/><Relationship Id="rId1" Type="http://schemas.openxmlformats.org/officeDocument/2006/relationships/slideLayout" Target="../slideLayouts/slideLayout756.xml"/><Relationship Id="rId5" Type="http://schemas.openxmlformats.org/officeDocument/2006/relationships/image" Target="../media/image91.png"/><Relationship Id="rId4" Type="http://schemas.openxmlformats.org/officeDocument/2006/relationships/image" Target="../media/image90.png"/></Relationships>
</file>

<file path=ppt/slides/_rels/slide24.xml.rels><?xml version="1.0" encoding="UTF-8" standalone="yes"?>
<Relationships xmlns="http://schemas.openxmlformats.org/package/2006/relationships"><Relationship Id="rId3" Type="http://schemas.openxmlformats.org/officeDocument/2006/relationships/hyperlink" Target="https://tinyurl.com/535OH66"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hyperlink" Target="mailto:mingram@directionstraining.com"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3DF6C7-056C-4D95-9FE8-ED580BCBCA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44B0290C-9F47-4470-B856-281FD9D2CA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A5900729-D0F4-466A-B537-0B2C4E1AD379}"/>
              </a:ext>
            </a:extLst>
          </p:cNvPr>
          <p:cNvPicPr>
            <a:picLocks noChangeAspect="1"/>
          </p:cNvPicPr>
          <p:nvPr/>
        </p:nvPicPr>
        <p:blipFill>
          <a:blip r:embed="rId3"/>
          <a:stretch>
            <a:fillRect/>
          </a:stretch>
        </p:blipFill>
        <p:spPr>
          <a:xfrm>
            <a:off x="609600" y="0"/>
            <a:ext cx="10972800" cy="6858000"/>
          </a:xfrm>
          <a:prstGeom prst="rect">
            <a:avLst/>
          </a:prstGeom>
        </p:spPr>
      </p:pic>
    </p:spTree>
    <p:extLst>
      <p:ext uri="{BB962C8B-B14F-4D97-AF65-F5344CB8AC3E}">
        <p14:creationId xmlns:p14="http://schemas.microsoft.com/office/powerpoint/2010/main" val="34935564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9E4CD2-EA69-4BC6-B46E-0E7EE3EED434}"/>
              </a:ext>
            </a:extLst>
          </p:cNvPr>
          <p:cNvPicPr>
            <a:picLocks noChangeAspect="1"/>
          </p:cNvPicPr>
          <p:nvPr/>
        </p:nvPicPr>
        <p:blipFill rotWithShape="1">
          <a:blip r:embed="rId3"/>
          <a:srcRect b="9231"/>
          <a:stretch/>
        </p:blipFill>
        <p:spPr>
          <a:xfrm>
            <a:off x="1242646" y="1189176"/>
            <a:ext cx="9483969" cy="5380329"/>
          </a:xfrm>
          <a:prstGeom prst="rect">
            <a:avLst/>
          </a:prstGeom>
        </p:spPr>
      </p:pic>
      <p:sp>
        <p:nvSpPr>
          <p:cNvPr id="2" name="Text Placeholder 1">
            <a:extLst>
              <a:ext uri="{FF2B5EF4-FFF2-40B4-BE49-F238E27FC236}">
                <a16:creationId xmlns:a16="http://schemas.microsoft.com/office/drawing/2014/main" id="{4EE61386-67DD-44F3-910C-E8037914862E}"/>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ADA897DE-4AD4-4B9F-BA78-36B014E55794}"/>
              </a:ext>
            </a:extLst>
          </p:cNvPr>
          <p:cNvSpPr>
            <a:spLocks noGrp="1"/>
          </p:cNvSpPr>
          <p:nvPr>
            <p:ph type="title"/>
          </p:nvPr>
        </p:nvSpPr>
        <p:spPr/>
        <p:txBody>
          <a:bodyPr/>
          <a:lstStyle/>
          <a:p>
            <a:r>
              <a:rPr lang="en-US" sz="2400" dirty="0"/>
              <a:t>https://www.microsoft.com/en-us/azureessentials/Pivot/AzureEssentials/AzureInfrastructure/Watch</a:t>
            </a:r>
            <a:br>
              <a:rPr lang="en-US" dirty="0"/>
            </a:br>
            <a:endParaRPr lang="en-US" dirty="0"/>
          </a:p>
        </p:txBody>
      </p:sp>
    </p:spTree>
    <p:extLst>
      <p:ext uri="{BB962C8B-B14F-4D97-AF65-F5344CB8AC3E}">
        <p14:creationId xmlns:p14="http://schemas.microsoft.com/office/powerpoint/2010/main" val="621677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13C04-A03B-4E65-9ABA-1EE211413FFA}"/>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85428F1-18DC-48FA-9272-E72A2330B0F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6482B7D-1778-43B9-AB68-A30045755304}"/>
              </a:ext>
            </a:extLst>
          </p:cNvPr>
          <p:cNvPicPr>
            <a:picLocks noChangeAspect="1"/>
          </p:cNvPicPr>
          <p:nvPr/>
        </p:nvPicPr>
        <p:blipFill rotWithShape="1">
          <a:blip r:embed="rId3"/>
          <a:srcRect b="9231"/>
          <a:stretch/>
        </p:blipFill>
        <p:spPr>
          <a:xfrm>
            <a:off x="609600" y="0"/>
            <a:ext cx="10972800" cy="6224954"/>
          </a:xfrm>
          <a:prstGeom prst="rect">
            <a:avLst/>
          </a:prstGeom>
        </p:spPr>
      </p:pic>
    </p:spTree>
    <p:extLst>
      <p:ext uri="{BB962C8B-B14F-4D97-AF65-F5344CB8AC3E}">
        <p14:creationId xmlns:p14="http://schemas.microsoft.com/office/powerpoint/2010/main" val="3891958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F4E8F-3463-4708-8513-5B64136059C0}"/>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DADAFB2-10CF-4BFA-8978-0BE4AADF8CC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6AAD66B-0D66-4CA9-94AF-BF24BA0F72C4}"/>
              </a:ext>
            </a:extLst>
          </p:cNvPr>
          <p:cNvPicPr>
            <a:picLocks noChangeAspect="1"/>
          </p:cNvPicPr>
          <p:nvPr/>
        </p:nvPicPr>
        <p:blipFill rotWithShape="1">
          <a:blip r:embed="rId3"/>
          <a:srcRect l="22757" t="5641" r="24252" b="3932"/>
          <a:stretch/>
        </p:blipFill>
        <p:spPr>
          <a:xfrm>
            <a:off x="3106614" y="386862"/>
            <a:ext cx="5814647" cy="6201507"/>
          </a:xfrm>
          <a:prstGeom prst="rect">
            <a:avLst/>
          </a:prstGeom>
        </p:spPr>
      </p:pic>
    </p:spTree>
    <p:extLst>
      <p:ext uri="{BB962C8B-B14F-4D97-AF65-F5344CB8AC3E}">
        <p14:creationId xmlns:p14="http://schemas.microsoft.com/office/powerpoint/2010/main" val="2910519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ark Ingram</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normAutofit fontScale="90000"/>
          </a:bodyPr>
          <a:lstStyle/>
          <a:p>
            <a:r>
              <a:rPr lang="en-US" dirty="0"/>
              <a:t>Time for feedback</a:t>
            </a:r>
            <a:br>
              <a:rPr lang="en-US" dirty="0"/>
            </a:br>
            <a:r>
              <a:rPr lang="en-US" sz="7300" dirty="0">
                <a:hlinkClick r:id="rId3"/>
              </a:rPr>
              <a:t>https://tinyurl.com/535OH66</a:t>
            </a:r>
            <a:br>
              <a:rPr lang="en-US" dirty="0"/>
            </a:br>
            <a:endParaRPr lang="en-US" dirty="0"/>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a:xfrm>
            <a:off x="271104" y="3877271"/>
            <a:ext cx="6461000" cy="1794661"/>
          </a:xfrm>
        </p:spPr>
        <p:txBody>
          <a:bodyPr/>
          <a:lstStyle/>
          <a:p>
            <a:r>
              <a:rPr lang="en-US" dirty="0"/>
              <a:t>Please email </a:t>
            </a:r>
            <a:r>
              <a:rPr lang="en-US" dirty="0">
                <a:hlinkClick r:id="rId3"/>
              </a:rPr>
              <a:t>dstolts@microsoft.com</a:t>
            </a:r>
            <a:endParaRPr lang="en-US" dirty="0"/>
          </a:p>
          <a:p>
            <a:r>
              <a:rPr lang="en-US" dirty="0">
                <a:hlinkClick r:id="rId4"/>
              </a:rPr>
              <a:t>mingram@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892</TotalTime>
  <Words>1122</Words>
  <Application>Microsoft Office PowerPoint</Application>
  <PresentationFormat>Widescreen</PresentationFormat>
  <Paragraphs>217</Paragraphs>
  <Slides>33</Slides>
  <Notes>32</Notes>
  <HiddenSlides>2</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3</vt:i4>
      </vt:variant>
    </vt:vector>
  </HeadingPairs>
  <TitlesOfParts>
    <vt:vector size="83"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PowerPoint Presentation</vt:lpstr>
      <vt:lpstr>https://www.microsoft.com/en-us/azureessentials/Pivot/AzureEssentials/AzureInfrastructure/Watch </vt:lpstr>
      <vt:lpstr>PowerPoint Presentation</vt:lpstr>
      <vt:lpstr>PowerPoint Presentation</vt:lpstr>
      <vt:lpstr>Leave Comments About Exam Questions</vt:lpstr>
      <vt:lpstr>Additional Resources</vt:lpstr>
      <vt:lpstr>Request Your Exam Voucher Today!     50% Discount Applied at Checkout</vt:lpstr>
      <vt:lpstr>Time for feedback https://tinyurl.com/535OH66 </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26</cp:revision>
  <dcterms:created xsi:type="dcterms:W3CDTF">2015-09-15T13:10:44Z</dcterms:created>
  <dcterms:modified xsi:type="dcterms:W3CDTF">2018-06-07T18:5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